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4" r:id="rId9"/>
    <p:sldId id="265" r:id="rId10"/>
  </p:sldIdLst>
  <p:sldSz cx="9906000" cy="6858000" type="A4"/>
  <p:notesSz cx="6724650" cy="9774238"/>
  <p:defaultTextStyle>
    <a:defPPr lvl="0">
      <a:defRPr lang="es-E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E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138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518690965756685E-2"/>
          <c:y val="0.10928032980469531"/>
          <c:w val="0.9100498929742783"/>
          <c:h val="0.763815901122996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250-48DC-B948-6C9510E2C1A5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250-48DC-B948-6C9510E2C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607040704"/>
        <c:axId val="607031456"/>
      </c:barChart>
      <c:lineChart>
        <c:grouping val="standard"/>
        <c:varyColors val="0"/>
        <c:ser>
          <c:idx val="2"/>
          <c:order val="2"/>
          <c:tx>
            <c:strRef>
              <c:f>Planilha1!$D$1</c:f>
              <c:strCache>
                <c:ptCount val="1"/>
                <c:pt idx="0">
                  <c:v>Série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Planilha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cat>
          <c:val>
            <c:numRef>
              <c:f>Planilh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6250-48DC-B948-6C9510E2C1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7040704"/>
        <c:axId val="607031456"/>
      </c:lineChart>
      <c:catAx>
        <c:axId val="60704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07031456"/>
        <c:crosses val="autoZero"/>
        <c:auto val="1"/>
        <c:lblAlgn val="ctr"/>
        <c:lblOffset val="100"/>
        <c:noMultiLvlLbl val="0"/>
      </c:catAx>
      <c:valAx>
        <c:axId val="6070314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07040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0304928563447961E-2"/>
          <c:y val="4.0897121840898602E-3"/>
          <c:w val="0.20463590523577777"/>
          <c:h val="0.20350729852612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48D1AF-E886-486E-9372-520836247586}" type="datetimeFigureOut">
              <a:rPr lang="pt-BR" smtClean="0"/>
              <a:t>19/09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22375"/>
            <a:ext cx="476567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3100" y="4703763"/>
            <a:ext cx="5378450" cy="3848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98B335-5D8F-45E7-935B-79848824882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6219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98B335-5D8F-45E7-935B-798488248827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3029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jpg"/><Relationship Id="rId5" Type="http://schemas.openxmlformats.org/officeDocument/2006/relationships/tags" Target="../tags/tag4.xml"/><Relationship Id="rId10" Type="http://schemas.openxmlformats.org/officeDocument/2006/relationships/image" Target="../media/image2.jpg"/><Relationship Id="rId4" Type="http://schemas.openxmlformats.org/officeDocument/2006/relationships/tags" Target="../tags/tag3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10" Type="http://schemas.openxmlformats.org/officeDocument/2006/relationships/image" Target="../media/image4.jpg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10" Type="http://schemas.openxmlformats.org/officeDocument/2006/relationships/image" Target="../media/image5.jpg"/><Relationship Id="rId4" Type="http://schemas.openxmlformats.org/officeDocument/2006/relationships/tags" Target="../tags/tag15.xml"/><Relationship Id="rId9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pe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729464" y="2011538"/>
            <a:ext cx="8435318" cy="1035823"/>
          </a:xfrm>
        </p:spPr>
        <p:txBody>
          <a:bodyPr vert="horz" lIns="91440" tIns="0" rIns="91440" bIns="0" rtlCol="0" anchor="t" anchorCtr="0">
            <a:noAutofit/>
          </a:bodyPr>
          <a:lstStyle>
            <a:lvl1pPr>
              <a:defRPr lang="es-ES" sz="2400" b="1" cap="all" baseline="0" dirty="0">
                <a:ln>
                  <a:noFill/>
                </a:ln>
                <a:solidFill>
                  <a:schemeClr val="tx1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defRPr>
            </a:lvl1pPr>
          </a:lstStyle>
          <a:p>
            <a:pPr marL="0" lvl="0"/>
            <a:r>
              <a:rPr lang="en-US" noProof="0" dirty="0"/>
              <a:t>TITLE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="" xmlns:a16="http://schemas.microsoft.com/office/drawing/2014/main" id="{28E7BE6F-DC7D-9505-9D4C-7E3F7C26DFB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09590" y="178670"/>
            <a:ext cx="9275064" cy="89306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="" xmlns:a16="http://schemas.microsoft.com/office/drawing/2014/main" id="{D1A54C9B-432B-1ACE-A397-7D114B4936B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5878" y="6130824"/>
            <a:ext cx="9906000" cy="7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84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pening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79 Rectángulo"/>
          <p:cNvSpPr/>
          <p:nvPr/>
        </p:nvSpPr>
        <p:spPr>
          <a:xfrm>
            <a:off x="0" y="0"/>
            <a:ext cx="9906000" cy="6200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0" i="0" u="none" strike="noStrike" kern="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</a:rPr>
              <a:t> </a:t>
            </a:r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Click to modify title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Imagem 11">
            <a:extLst>
              <a:ext uri="{FF2B5EF4-FFF2-40B4-BE49-F238E27FC236}">
                <a16:creationId xmlns="" xmlns:a16="http://schemas.microsoft.com/office/drawing/2014/main" id="{44229EAA-AC47-6EF3-3BBD-4B8A01E8288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576566" y="6326097"/>
            <a:ext cx="2182368" cy="44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65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909060" y="1838456"/>
            <a:ext cx="8255722" cy="1154558"/>
          </a:xfrm>
        </p:spPr>
        <p:txBody>
          <a:bodyPr vert="horz" lIns="91440" tIns="0" rIns="91440" bIns="0" rtlCol="0" anchor="b" anchorCtr="0">
            <a:noAutofit/>
          </a:bodyPr>
          <a:lstStyle>
            <a:lvl1pPr>
              <a:defRPr lang="es-ES" sz="2300" b="1" cap="all" baseline="0" dirty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</a:defRPr>
            </a:lvl1pPr>
          </a:lstStyle>
          <a:p>
            <a:pPr marL="0" lvl="0"/>
            <a:r>
              <a:rPr lang="es-ES" noProof="1"/>
              <a:t>Agenda</a:t>
            </a:r>
            <a:endParaRPr lang="es-ES" dirty="0"/>
          </a:p>
        </p:txBody>
      </p:sp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43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3882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="" xmlns:a16="http://schemas.microsoft.com/office/drawing/2014/main" id="{014F651E-3236-6B41-6BC0-47C5DA85C424}"/>
              </a:ext>
            </a:extLst>
          </p:cNvPr>
          <p:cNvSpPr/>
          <p:nvPr userDrawn="1"/>
        </p:nvSpPr>
        <p:spPr>
          <a:xfrm>
            <a:off x="4572000" y="0"/>
            <a:ext cx="5334000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cap="all" baseline="0" dirty="0">
                <a:solidFill>
                  <a:schemeClr val="accent5"/>
                </a:solidFill>
              </a:rPr>
              <a:t>Insert high</a:t>
            </a:r>
          </a:p>
          <a:p>
            <a:pPr algn="ctr"/>
            <a:r>
              <a:rPr lang="en-US" sz="4000" cap="all" baseline="0" dirty="0">
                <a:solidFill>
                  <a:schemeClr val="accent5"/>
                </a:solidFill>
              </a:rPr>
              <a:t>quality picture</a:t>
            </a:r>
          </a:p>
        </p:txBody>
      </p:sp>
    </p:spTree>
    <p:extLst>
      <p:ext uri="{BB962C8B-B14F-4D97-AF65-F5344CB8AC3E}">
        <p14:creationId xmlns:p14="http://schemas.microsoft.com/office/powerpoint/2010/main" val="3549198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9" y="1140223"/>
            <a:ext cx="9325870" cy="1877437"/>
          </a:xfrm>
        </p:spPr>
        <p:txBody>
          <a:bodyPr wrap="square">
            <a:spAutoFit/>
          </a:bodyPr>
          <a:lstStyle>
            <a:lvl1pPr marL="179388" indent="-179388">
              <a:spcBef>
                <a:spcPts val="1200"/>
              </a:spcBef>
              <a:buClr>
                <a:schemeClr val="tx1"/>
              </a:buClr>
              <a:defRPr lang="es-E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76200">
              <a:spcBef>
                <a:spcPts val="12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▪"/>
              <a:defRPr lang="es-E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158750">
              <a:spcBef>
                <a:spcPts val="600"/>
              </a:spcBef>
              <a:buClr>
                <a:schemeClr val="tx1"/>
              </a:buClr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538" indent="-149225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25" indent="-149225">
              <a:spcBef>
                <a:spcPts val="600"/>
              </a:spcBef>
              <a:buClr>
                <a:schemeClr val="tx1"/>
              </a:buClr>
              <a:defRPr lang="es-E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9388" lvl="0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ext</a:t>
            </a:r>
          </a:p>
          <a:p>
            <a:pPr marL="179388" lvl="1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Second level</a:t>
            </a:r>
          </a:p>
          <a:p>
            <a:pPr marL="179388" lvl="2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Third level</a:t>
            </a:r>
          </a:p>
          <a:p>
            <a:pPr marL="179388" lvl="3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ourth level</a:t>
            </a:r>
          </a:p>
          <a:p>
            <a:pPr marL="179388" lvl="4" indent="-179388" algn="l" defTabSz="914400" rtl="0" eaLnBrk="1" latinLnBrk="0" hangingPunct="1">
              <a:spcBef>
                <a:spcPts val="1200"/>
              </a:spcBef>
              <a:buClr>
                <a:schemeClr val="tx1">
                  <a:lumMod val="90000"/>
                  <a:lumOff val="10000"/>
                </a:schemeClr>
              </a:buClr>
              <a:buFont typeface="Neo Sans Std" panose="020B0504030504040204" pitchFamily="34" charset="0"/>
              <a:buChar char="–"/>
            </a:pPr>
            <a:r>
              <a:rPr lang="en-US" noProof="0" dirty="0"/>
              <a:t>Fifth level</a:t>
            </a:r>
          </a:p>
        </p:txBody>
      </p:sp>
      <p:sp>
        <p:nvSpPr>
          <p:cNvPr id="5" name="1 Título">
            <a:extLst>
              <a:ext uri="{FF2B5EF4-FFF2-40B4-BE49-F238E27FC236}">
                <a16:creationId xmlns="" xmlns:a16="http://schemas.microsoft.com/office/drawing/2014/main" id="{5BBCC1F1-C641-85D2-5366-85D1E104F5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6" name="12 Marcador de texto">
            <a:extLst>
              <a:ext uri="{FF2B5EF4-FFF2-40B4-BE49-F238E27FC236}">
                <a16:creationId xmlns="" xmlns:a16="http://schemas.microsoft.com/office/drawing/2014/main" id="{D7A90F70-3246-A12C-7192-F2E9918F60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46771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307648" y="1140224"/>
            <a:ext cx="4437377" cy="1646605"/>
          </a:xfrm>
        </p:spPr>
        <p:txBody>
          <a:bodyPr>
            <a:spAutoFit/>
          </a:bodyPr>
          <a:lstStyle>
            <a:lvl1pPr marL="179388" indent="-179388" algn="l">
              <a:spcBef>
                <a:spcPts val="1200"/>
              </a:spcBef>
              <a:defRPr/>
            </a:lvl1pPr>
            <a:lvl2pPr marL="444500" indent="-179388" algn="l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/>
            </a:lvl2pPr>
            <a:lvl3pPr marL="717550" indent="-179388" algn="l">
              <a:spcBef>
                <a:spcPts val="600"/>
              </a:spcBef>
              <a:buClr>
                <a:schemeClr val="tx1"/>
              </a:buClr>
              <a:defRPr sz="1400"/>
            </a:lvl3pPr>
            <a:lvl4pPr marL="982663" indent="-179388" algn="l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sz="1400"/>
            </a:lvl4pPr>
            <a:lvl5pPr algn="l">
              <a:spcBef>
                <a:spcPts val="600"/>
              </a:spcBef>
              <a:buClr>
                <a:schemeClr val="tx1"/>
              </a:buClr>
              <a:defRPr sz="1400"/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8" name="12 Marcador de texto">
            <a:extLst>
              <a:ext uri="{FF2B5EF4-FFF2-40B4-BE49-F238E27FC236}">
                <a16:creationId xmlns="" xmlns:a16="http://schemas.microsoft.com/office/drawing/2014/main" id="{21B3FA17-321F-F195-C7D2-D8B0D7377A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4705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="" xmlns:a16="http://schemas.microsoft.com/office/drawing/2014/main" id="{AD040CA2-0C07-F482-F4EB-3E5ACB88D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480" y="402828"/>
            <a:ext cx="9361040" cy="633412"/>
          </a:xfrm>
        </p:spPr>
        <p:txBody>
          <a:bodyPr vert="horz" lIns="91440" tIns="0" rIns="91440" bIns="0" rtlCol="0" anchor="t">
            <a:noAutofit/>
          </a:bodyPr>
          <a:lstStyle>
            <a:lvl1pPr algn="l">
              <a:defRPr lang="es-E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7" name="12 Marcador de texto">
            <a:extLst>
              <a:ext uri="{FF2B5EF4-FFF2-40B4-BE49-F238E27FC236}">
                <a16:creationId xmlns="" xmlns:a16="http://schemas.microsoft.com/office/drawing/2014/main" id="{B20DD1B8-AA69-4625-1099-A20782E860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480" y="218274"/>
            <a:ext cx="9361040" cy="188640"/>
          </a:xfrm>
        </p:spPr>
        <p:txBody>
          <a:bodyPr vert="horz" lIns="104400" tIns="45720" rIns="91440" bIns="45720" rtlCol="0" anchor="ctr">
            <a:noAutofit/>
          </a:bodyPr>
          <a:lstStyle>
            <a:lvl1pPr marL="0" indent="0">
              <a:buNone/>
              <a:defRPr lang="es-ES" sz="900" dirty="0" smtClean="0">
                <a:solidFill>
                  <a:schemeClr val="tx2"/>
                </a:solidFill>
                <a:latin typeface="+mn-lt"/>
                <a:ea typeface="Malgun Gothic" panose="020B0503020000020004" pitchFamily="34" charset="-127"/>
                <a:cs typeface="Malgun Gothic Semilight" panose="020B0502040204020203" pitchFamily="34" charset="-128"/>
              </a:defRPr>
            </a:lvl1pPr>
          </a:lstStyle>
          <a:p>
            <a:pPr marL="179388" lvl="0" indent="-179388"/>
            <a:r>
              <a:rPr lang="en-US" noProof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9730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2773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59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1298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="" xmlns:a16="http://schemas.microsoft.com/office/drawing/2014/main" id="{33CE4C32-C43D-3DA9-A976-47657FE81F3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60807" y="164973"/>
            <a:ext cx="8936736" cy="679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257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272480" y="402828"/>
            <a:ext cx="9361040" cy="633412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/>
          <a:p>
            <a:r>
              <a:rPr lang="en-US" noProof="0"/>
              <a:t>Click to modify title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07648" y="1140570"/>
            <a:ext cx="9334417" cy="164660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noProof="0" dirty="0"/>
              <a:t>Click to modify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79 Rectángulo">
            <a:extLst>
              <a:ext uri="{FF2B5EF4-FFF2-40B4-BE49-F238E27FC236}">
                <a16:creationId xmlns="" xmlns:a16="http://schemas.microsoft.com/office/drawing/2014/main" id="{CB3F5060-1486-0B6C-BD80-05E6547F58F3}"/>
              </a:ext>
            </a:extLst>
          </p:cNvPr>
          <p:cNvSpPr/>
          <p:nvPr userDrawn="1"/>
        </p:nvSpPr>
        <p:spPr>
          <a:xfrm>
            <a:off x="0" y="6719298"/>
            <a:ext cx="9906000" cy="1489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lgDash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6000" b="0" i="0" u="none" strike="noStrike" kern="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  <p:sp>
        <p:nvSpPr>
          <p:cNvPr id="7" name="2 Marcador de número de diapositiva"/>
          <p:cNvSpPr txBox="1">
            <a:spLocks/>
          </p:cNvSpPr>
          <p:nvPr/>
        </p:nvSpPr>
        <p:spPr>
          <a:xfrm>
            <a:off x="9598025" y="29130"/>
            <a:ext cx="288000" cy="223488"/>
          </a:xfrm>
          <a:prstGeom prst="rect">
            <a:avLst/>
          </a:prstGeom>
          <a:noFill/>
        </p:spPr>
        <p:txBody>
          <a:bodyPr lIns="0" tIns="0" rIns="0" bIns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7CEF99-55C6-4480-A94C-7A7D18CCB18B}" type="slidenum">
              <a:rPr kumimoji="0" lang="es-ES" sz="1000" b="0" i="0" u="none" strike="noStrike" kern="1200" cap="none" spc="0" normalizeH="0" baseline="0" noProof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1000" b="0" i="0" u="none" strike="noStrike" kern="1200" cap="none" spc="0" normalizeH="0" baseline="0" noProof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="" xmlns:a16="http://schemas.microsoft.com/office/drawing/2014/main" id="{9264D89E-257D-5F16-256D-EC35E53D1984}"/>
              </a:ext>
            </a:extLst>
          </p:cNvPr>
          <p:cNvSpPr txBox="1"/>
          <p:nvPr userDrawn="1"/>
        </p:nvSpPr>
        <p:spPr>
          <a:xfrm>
            <a:off x="3957430" y="6673065"/>
            <a:ext cx="1723549" cy="2308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</a:rPr>
              <a:t>XX SITRAER 2023, Joinville - SC</a:t>
            </a:r>
          </a:p>
        </p:txBody>
      </p:sp>
    </p:spTree>
    <p:extLst>
      <p:ext uri="{BB962C8B-B14F-4D97-AF65-F5344CB8AC3E}">
        <p14:creationId xmlns:p14="http://schemas.microsoft.com/office/powerpoint/2010/main" val="229050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1" r:id="rId3"/>
    <p:sldLayoutId id="2147483681" r:id="rId4"/>
    <p:sldLayoutId id="2147483682" r:id="rId5"/>
    <p:sldLayoutId id="2147483683" r:id="rId6"/>
    <p:sldLayoutId id="2147483685" r:id="rId7"/>
    <p:sldLayoutId id="2147483692" r:id="rId8"/>
  </p:sldLayoutIdLst>
  <p:txStyles>
    <p:titleStyle>
      <a:lvl1pPr algn="l" defTabSz="914400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Nirmala UI" panose="020B0502040204020203" pitchFamily="34" charset="0"/>
          <a:ea typeface="Nirmala UI" panose="020B0502040204020203" pitchFamily="34" charset="0"/>
          <a:cs typeface="Nirmala UI" panose="020B0502040204020203" pitchFamily="34" charset="0"/>
        </a:defRPr>
      </a:lvl1pPr>
    </p:titleStyle>
    <p:bodyStyle>
      <a:lvl1pPr marL="179388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8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1pPr>
      <a:lvl2pPr marL="444500" indent="-179388" algn="l" defTabSz="914400" rtl="0" eaLnBrk="1" latinLnBrk="0" hangingPunct="1">
        <a:spcBef>
          <a:spcPts val="12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tabLst/>
        <a:defRPr lang="es-ES" sz="16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2pPr>
      <a:lvl3pPr marL="717550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3pPr>
      <a:lvl4pPr marL="1076325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Wingdings" panose="05000000000000000000" pitchFamily="2" charset="2"/>
        <a:buChar char="§"/>
        <a:defRPr lang="es-ES" sz="1400" kern="120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4pPr>
      <a:lvl5pPr marL="1341438" indent="-179388" algn="l" defTabSz="914400" rtl="0" eaLnBrk="1" latinLnBrk="0" hangingPunct="1">
        <a:spcBef>
          <a:spcPts val="600"/>
        </a:spcBef>
        <a:buClr>
          <a:schemeClr val="tx1">
            <a:lumMod val="90000"/>
            <a:lumOff val="10000"/>
          </a:schemeClr>
        </a:buClr>
        <a:buFont typeface="Neo Sans Std" panose="020B0504030504040204" pitchFamily="34" charset="0"/>
        <a:buChar char="–"/>
        <a:defRPr lang="es-ES" sz="1400" kern="1200" dirty="0" smtClean="0">
          <a:solidFill>
            <a:schemeClr val="tx1"/>
          </a:solidFill>
          <a:latin typeface="Nirmala UI Semilight" panose="020B0402040204020203" pitchFamily="34" charset="0"/>
          <a:ea typeface="Nirmala UI Semilight" panose="020B0402040204020203" pitchFamily="34" charset="0"/>
          <a:cs typeface="Nirmala UI Semilight" panose="020B0402040204020203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7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3906">
          <p15:clr>
            <a:srgbClr val="F26B43"/>
          </p15:clr>
        </p15:guide>
        <p15:guide id="5" orient="horz" pos="411">
          <p15:clr>
            <a:srgbClr val="F26B43"/>
          </p15:clr>
        </p15:guide>
        <p15:guide id="6" orient="horz" pos="2319">
          <p15:clr>
            <a:srgbClr val="F26B43"/>
          </p15:clr>
        </p15:guide>
        <p15:guide id="7" pos="31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mailto:sitraer2023@gmail.com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13E8CF3F-C9A1-D4C1-9395-5796F0903CE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commendations to paper presentation at the </a:t>
            </a:r>
            <a:r>
              <a:rPr lang="en-US" dirty="0" err="1"/>
              <a:t>Sitraer</a:t>
            </a:r>
            <a:r>
              <a:rPr lang="en-US" dirty="0"/>
              <a:t> 2023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3842DC95-2D61-ACAB-A19B-85CCE3E9B517}"/>
              </a:ext>
            </a:extLst>
          </p:cNvPr>
          <p:cNvSpPr txBox="1"/>
          <p:nvPr/>
        </p:nvSpPr>
        <p:spPr>
          <a:xfrm>
            <a:off x="4114210" y="4367392"/>
            <a:ext cx="1665842" cy="3693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/>
            <a:r>
              <a:rPr lang="en-US" dirty="0">
                <a:latin typeface="+mj-lt"/>
              </a:rPr>
              <a:t>Authors’ name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="" xmlns:a16="http://schemas.microsoft.com/office/drawing/2014/main" id="{E5ACD674-0A98-069B-6184-78CC6EDDE1D9}"/>
              </a:ext>
            </a:extLst>
          </p:cNvPr>
          <p:cNvSpPr txBox="1"/>
          <p:nvPr/>
        </p:nvSpPr>
        <p:spPr>
          <a:xfrm>
            <a:off x="4397936" y="4853603"/>
            <a:ext cx="1098379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Institution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="" xmlns:a16="http://schemas.microsoft.com/office/drawing/2014/main" id="{394AC353-10A4-BA0C-9662-2B1CD6A0E0C8}"/>
              </a:ext>
            </a:extLst>
          </p:cNvPr>
          <p:cNvSpPr txBox="1"/>
          <p:nvPr/>
        </p:nvSpPr>
        <p:spPr>
          <a:xfrm>
            <a:off x="872836" y="3429000"/>
            <a:ext cx="659155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1600" b="1" dirty="0" smtClean="0">
                <a:latin typeface="+mj-lt"/>
              </a:rPr>
              <a:t>1234</a:t>
            </a:r>
            <a:endParaRPr lang="en-US" sz="1600" b="1" dirty="0">
              <a:latin typeface="+mj-lt"/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="" xmlns:a16="http://schemas.microsoft.com/office/drawing/2014/main" id="{620D43DC-E63C-32BD-F0DC-8457D837A355}"/>
              </a:ext>
            </a:extLst>
          </p:cNvPr>
          <p:cNvSpPr/>
          <p:nvPr/>
        </p:nvSpPr>
        <p:spPr>
          <a:xfrm>
            <a:off x="5867400" y="4350326"/>
            <a:ext cx="3297382" cy="870091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ysClr val="windowText" lastClr="000000"/>
                </a:solidFill>
              </a:rPr>
              <a:t>Optional logo of your institution in this area</a:t>
            </a:r>
          </a:p>
        </p:txBody>
      </p:sp>
      <p:sp>
        <p:nvSpPr>
          <p:cNvPr id="25" name="Retângulo: Cantos Arredondados 24">
            <a:extLst>
              <a:ext uri="{FF2B5EF4-FFF2-40B4-BE49-F238E27FC236}">
                <a16:creationId xmlns="" xmlns:a16="http://schemas.microsoft.com/office/drawing/2014/main" id="{95C57894-3972-0838-CE33-D5885F8B00D1}"/>
              </a:ext>
            </a:extLst>
          </p:cNvPr>
          <p:cNvSpPr/>
          <p:nvPr/>
        </p:nvSpPr>
        <p:spPr>
          <a:xfrm>
            <a:off x="568032" y="4350326"/>
            <a:ext cx="1390871" cy="337021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ysClr val="windowText" lastClr="000000"/>
                </a:solidFill>
              </a:rPr>
              <a:t>Paper ID</a:t>
            </a:r>
            <a:endParaRPr lang="en-US" sz="1400" dirty="0">
              <a:solidFill>
                <a:sysClr val="windowText" lastClr="000000"/>
              </a:solidFill>
            </a:endParaRPr>
          </a:p>
        </p:txBody>
      </p:sp>
      <p:cxnSp>
        <p:nvCxnSpPr>
          <p:cNvPr id="26" name="Conector de Seta Reta 25">
            <a:extLst>
              <a:ext uri="{FF2B5EF4-FFF2-40B4-BE49-F238E27FC236}">
                <a16:creationId xmlns="" xmlns:a16="http://schemas.microsoft.com/office/drawing/2014/main" id="{D5F77DB9-D1F0-E1E0-13CB-8ED4265A966C}"/>
              </a:ext>
            </a:extLst>
          </p:cNvPr>
          <p:cNvCxnSpPr>
            <a:cxnSpLocks/>
            <a:stCxn id="25" idx="0"/>
          </p:cNvCxnSpPr>
          <p:nvPr/>
        </p:nvCxnSpPr>
        <p:spPr>
          <a:xfrm flipV="1">
            <a:off x="1263468" y="3865417"/>
            <a:ext cx="0" cy="484909"/>
          </a:xfrm>
          <a:prstGeom prst="straightConnector1">
            <a:avLst/>
          </a:prstGeom>
          <a:noFill/>
          <a:ln w="28575" cap="rnd">
            <a:solidFill>
              <a:schemeClr val="accent1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439251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4E4A3DB-F68A-8174-74A0-D4F1C90460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="" xmlns:a16="http://schemas.microsoft.com/office/drawing/2014/main" id="{5CE7A0C9-179C-C1A3-61AA-1BFA8F93CCB5}"/>
              </a:ext>
            </a:extLst>
          </p:cNvPr>
          <p:cNvSpPr txBox="1"/>
          <p:nvPr/>
        </p:nvSpPr>
        <p:spPr>
          <a:xfrm>
            <a:off x="1108364" y="3283527"/>
            <a:ext cx="1984839" cy="1477328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dirty="0"/>
              <a:t>Font and sizing</a:t>
            </a:r>
          </a:p>
          <a:p>
            <a:r>
              <a:rPr lang="en-US" dirty="0"/>
              <a:t>Coloring</a:t>
            </a:r>
          </a:p>
          <a:p>
            <a:r>
              <a:rPr lang="en-US" dirty="0"/>
              <a:t>Figures and tables</a:t>
            </a:r>
          </a:p>
          <a:p>
            <a:r>
              <a:rPr lang="en-US" dirty="0"/>
              <a:t>Content</a:t>
            </a:r>
          </a:p>
          <a:p>
            <a:r>
              <a:rPr lang="en-US" dirty="0"/>
              <a:t>Timing</a:t>
            </a:r>
          </a:p>
        </p:txBody>
      </p:sp>
      <p:sp>
        <p:nvSpPr>
          <p:cNvPr id="6" name="Retângulo: Cantos Diagonais Arredondados 5">
            <a:extLst>
              <a:ext uri="{FF2B5EF4-FFF2-40B4-BE49-F238E27FC236}">
                <a16:creationId xmlns="" xmlns:a16="http://schemas.microsoft.com/office/drawing/2014/main" id="{88E76C2A-959E-BEA0-A480-FC21B6212E64}"/>
              </a:ext>
            </a:extLst>
          </p:cNvPr>
          <p:cNvSpPr/>
          <p:nvPr/>
        </p:nvSpPr>
        <p:spPr>
          <a:xfrm rot="20108310">
            <a:off x="45964" y="303879"/>
            <a:ext cx="1539518" cy="426187"/>
          </a:xfrm>
          <a:prstGeom prst="round2DiagRect">
            <a:avLst>
              <a:gd name="adj1" fmla="val 0"/>
              <a:gd name="adj2" fmla="val 50000"/>
            </a:avLst>
          </a:prstGeom>
          <a:noFill/>
          <a:ln w="19050">
            <a:solidFill>
              <a:schemeClr val="accent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Optional slide</a:t>
            </a:r>
          </a:p>
        </p:txBody>
      </p:sp>
      <p:pic>
        <p:nvPicPr>
          <p:cNvPr id="4" name="Espaço Reservado para Conteúdo 5">
            <a:extLst>
              <a:ext uri="{FF2B5EF4-FFF2-40B4-BE49-F238E27FC236}">
                <a16:creationId xmlns="" xmlns:a16="http://schemas.microsoft.com/office/drawing/2014/main" id="{70543702-65D2-87E6-74F2-56C6A92758D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020" t="7440" r="11097" b="36311"/>
          <a:stretch/>
        </p:blipFill>
        <p:spPr>
          <a:xfrm>
            <a:off x="4566041" y="0"/>
            <a:ext cx="53399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603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="" xmlns:a16="http://schemas.microsoft.com/office/drawing/2014/main" id="{13B712CF-8143-D28C-797E-86E6135A89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8" y="1140224"/>
            <a:ext cx="8808643" cy="4924425"/>
          </a:xfrm>
        </p:spPr>
        <p:txBody>
          <a:bodyPr/>
          <a:lstStyle/>
          <a:p>
            <a:r>
              <a:rPr lang="en-US" dirty="0"/>
              <a:t>All document may be written using either font Nirmala UI (titles) or Nirmala UI </a:t>
            </a:r>
            <a:r>
              <a:rPr lang="en-US" dirty="0" err="1"/>
              <a:t>Semilight</a:t>
            </a:r>
            <a:r>
              <a:rPr lang="en-US" dirty="0"/>
              <a:t> (text)</a:t>
            </a:r>
          </a:p>
          <a:p>
            <a:endParaRPr lang="en-US" dirty="0"/>
          </a:p>
          <a:p>
            <a:r>
              <a:rPr lang="en-US" dirty="0"/>
              <a:t>Authors must guarantee the readability of the presentation, therefore the suggested font sizing is proposed:</a:t>
            </a:r>
          </a:p>
          <a:p>
            <a:pPr lvl="1"/>
            <a:r>
              <a:rPr lang="en-US" dirty="0"/>
              <a:t>Titles: 24pt</a:t>
            </a:r>
          </a:p>
          <a:p>
            <a:pPr lvl="1"/>
            <a:r>
              <a:rPr lang="en-US" dirty="0"/>
              <a:t>First level text: 18pt</a:t>
            </a:r>
          </a:p>
          <a:p>
            <a:pPr lvl="1"/>
            <a:r>
              <a:rPr lang="en-US" dirty="0"/>
              <a:t>Second level text: 16pt</a:t>
            </a:r>
          </a:p>
          <a:p>
            <a:pPr lvl="1"/>
            <a:r>
              <a:rPr lang="en-US" dirty="0"/>
              <a:t>Third level text or further: 14pt</a:t>
            </a:r>
          </a:p>
          <a:p>
            <a:pPr lvl="1"/>
            <a:r>
              <a:rPr lang="en-US" dirty="0"/>
              <a:t>Caption: 11pt</a:t>
            </a:r>
          </a:p>
          <a:p>
            <a:endParaRPr lang="en-US" dirty="0"/>
          </a:p>
          <a:p>
            <a:r>
              <a:rPr lang="en-US" dirty="0"/>
              <a:t>Authors may highlight text throughout the document with </a:t>
            </a:r>
            <a:r>
              <a:rPr lang="en-US" b="1" dirty="0"/>
              <a:t>bold</a:t>
            </a:r>
            <a:r>
              <a:rPr lang="en-US" dirty="0"/>
              <a:t>, </a:t>
            </a:r>
            <a:r>
              <a:rPr lang="en-US" i="1" dirty="0"/>
              <a:t>italic,</a:t>
            </a:r>
            <a:r>
              <a:rPr lang="en-US" dirty="0"/>
              <a:t> </a:t>
            </a:r>
            <a:r>
              <a:rPr lang="en-US" u="sng" dirty="0"/>
              <a:t>underline</a:t>
            </a:r>
            <a:r>
              <a:rPr lang="en-US" dirty="0"/>
              <a:t> or even </a:t>
            </a:r>
            <a:r>
              <a:rPr lang="en-US" dirty="0">
                <a:solidFill>
                  <a:schemeClr val="accent1"/>
                </a:solidFill>
              </a:rPr>
              <a:t>colors</a:t>
            </a:r>
            <a:endParaRPr lang="en-US" u="sng" dirty="0">
              <a:solidFill>
                <a:schemeClr val="accent1"/>
              </a:solidFill>
            </a:endParaRPr>
          </a:p>
        </p:txBody>
      </p:sp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56274B73-7E15-C7F5-6A41-9ECE60BC9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nt sizing for title and text are suggested in order to provide good readability to the audience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5AF04CC7-1D4B-9952-A6E5-C83ECA24BF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Font and sizing</a:t>
            </a:r>
          </a:p>
        </p:txBody>
      </p:sp>
    </p:spTree>
    <p:extLst>
      <p:ext uri="{BB962C8B-B14F-4D97-AF65-F5344CB8AC3E}">
        <p14:creationId xmlns:p14="http://schemas.microsoft.com/office/powerpoint/2010/main" val="42866601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56274B73-7E15-C7F5-6A41-9ECE60BC9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hors are encouraged to follow the SITRAER 2023 official palette of colors, although it is </a:t>
            </a:r>
            <a:r>
              <a:rPr lang="en-US" b="1" dirty="0"/>
              <a:t>not mandatory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5AF04CC7-1D4B-9952-A6E5-C83ECA24BF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- Coloring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="" xmlns:a16="http://schemas.microsoft.com/office/drawing/2014/main" id="{44EA34E1-B678-6D00-0E03-F7A22E9B9A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8516" y="1461236"/>
            <a:ext cx="3339988" cy="703545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="" xmlns:a16="http://schemas.microsoft.com/office/drawing/2014/main" id="{D4A2C4E3-562A-61CC-24D4-66EB7BE512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1644" y="2188982"/>
            <a:ext cx="3154844" cy="762791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="" xmlns:a16="http://schemas.microsoft.com/office/drawing/2014/main" id="{F27CBCB9-B232-5645-84A4-3B7EC01ED1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4823" y="2944898"/>
            <a:ext cx="3103004" cy="762791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="" xmlns:a16="http://schemas.microsoft.com/office/drawing/2014/main" id="{2EB557D5-321A-C2CB-0859-F3C87274F7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1644" y="3710878"/>
            <a:ext cx="3110409" cy="777603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="" xmlns:a16="http://schemas.microsoft.com/office/drawing/2014/main" id="{D1532D69-2B41-FB91-4FDC-1E5C813D99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3416" y="4469395"/>
            <a:ext cx="3140033" cy="762791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="" xmlns:a16="http://schemas.microsoft.com/office/drawing/2014/main" id="{25A15F13-2503-BFC6-ADE3-59E10E8DE2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1766" y="5246199"/>
            <a:ext cx="3051164" cy="814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391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="" xmlns:a16="http://schemas.microsoft.com/office/drawing/2014/main" id="{AFF50C80-0F6B-8F7B-252F-3BEEFF9C2D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9" y="1140223"/>
            <a:ext cx="9325870" cy="1077218"/>
          </a:xfrm>
        </p:spPr>
        <p:txBody>
          <a:bodyPr/>
          <a:lstStyle/>
          <a:p>
            <a:r>
              <a:rPr lang="en-US" dirty="0"/>
              <a:t>Numbering, caption and sources are recommended to be presented with all figures and tables</a:t>
            </a:r>
          </a:p>
          <a:p>
            <a:r>
              <a:rPr lang="en-US" dirty="0"/>
              <a:t>Schemes should follow authors’ preferences as they wish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949F0F95-D8AC-D5D1-57F1-9A64DA1C5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gures and tables are prone to be part of a presentation. Some examples are provided as follows: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C8C37323-9150-6BBC-EF1C-6BE816573B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Figures and tables</a:t>
            </a:r>
          </a:p>
        </p:txBody>
      </p:sp>
      <p:graphicFrame>
        <p:nvGraphicFramePr>
          <p:cNvPr id="8" name="Gráfico 7">
            <a:extLst>
              <a:ext uri="{FF2B5EF4-FFF2-40B4-BE49-F238E27FC236}">
                <a16:creationId xmlns="" xmlns:a16="http://schemas.microsoft.com/office/drawing/2014/main" id="{748AEA61-C6E0-EB72-3A6B-F07EF16624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2584756"/>
              </p:ext>
            </p:extLst>
          </p:nvPr>
        </p:nvGraphicFramePr>
        <p:xfrm>
          <a:off x="317622" y="2284127"/>
          <a:ext cx="4554968" cy="3105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="" xmlns:a16="http://schemas.microsoft.com/office/drawing/2014/main" id="{FCA82563-4C08-4EA5-7A17-5108765CE5F9}"/>
              </a:ext>
            </a:extLst>
          </p:cNvPr>
          <p:cNvSpPr txBox="1"/>
          <p:nvPr/>
        </p:nvSpPr>
        <p:spPr>
          <a:xfrm>
            <a:off x="272480" y="5399184"/>
            <a:ext cx="3443571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1100" dirty="0"/>
              <a:t>Figure 1 Caption of the figure. Source: SITRAER 2023.</a:t>
            </a:r>
          </a:p>
        </p:txBody>
      </p:sp>
      <p:graphicFrame>
        <p:nvGraphicFramePr>
          <p:cNvPr id="6" name="Tabela 8">
            <a:extLst>
              <a:ext uri="{FF2B5EF4-FFF2-40B4-BE49-F238E27FC236}">
                <a16:creationId xmlns="" xmlns:a16="http://schemas.microsoft.com/office/drawing/2014/main" id="{EB5433B5-921C-61C5-B7B9-D3DF2089A7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8336278"/>
              </p:ext>
            </p:extLst>
          </p:nvPr>
        </p:nvGraphicFramePr>
        <p:xfrm>
          <a:off x="5033412" y="4292200"/>
          <a:ext cx="4554970" cy="10972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0224">
                  <a:extLst>
                    <a:ext uri="{9D8B030D-6E8A-4147-A177-3AD203B41FA5}">
                      <a16:colId xmlns="" xmlns:a16="http://schemas.microsoft.com/office/drawing/2014/main" val="433394819"/>
                    </a:ext>
                  </a:extLst>
                </a:gridCol>
                <a:gridCol w="1157373">
                  <a:extLst>
                    <a:ext uri="{9D8B030D-6E8A-4147-A177-3AD203B41FA5}">
                      <a16:colId xmlns="" xmlns:a16="http://schemas.microsoft.com/office/drawing/2014/main" val="2632883479"/>
                    </a:ext>
                  </a:extLst>
                </a:gridCol>
                <a:gridCol w="1157373">
                  <a:extLst>
                    <a:ext uri="{9D8B030D-6E8A-4147-A177-3AD203B41FA5}">
                      <a16:colId xmlns="" xmlns:a16="http://schemas.microsoft.com/office/drawing/2014/main" val="651044104"/>
                    </a:ext>
                  </a:extLst>
                </a:gridCol>
              </a:tblGrid>
              <a:tr h="34800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ru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alse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6389612"/>
                  </a:ext>
                </a:extLst>
              </a:tr>
              <a:tr h="3480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utput Tru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6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29602280"/>
                  </a:ext>
                </a:extLst>
              </a:tr>
              <a:tr h="34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Output Fals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8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5199492"/>
                  </a:ext>
                </a:extLst>
              </a:tr>
            </a:tbl>
          </a:graphicData>
        </a:graphic>
      </p:graphicFrame>
      <p:sp>
        <p:nvSpPr>
          <p:cNvPr id="9" name="CaixaDeTexto 8">
            <a:extLst>
              <a:ext uri="{FF2B5EF4-FFF2-40B4-BE49-F238E27FC236}">
                <a16:creationId xmlns="" xmlns:a16="http://schemas.microsoft.com/office/drawing/2014/main" id="{3FF88C29-CC08-1FDC-097E-8173B472FEB2}"/>
              </a:ext>
            </a:extLst>
          </p:cNvPr>
          <p:cNvSpPr txBox="1"/>
          <p:nvPr/>
        </p:nvSpPr>
        <p:spPr>
          <a:xfrm>
            <a:off x="5033412" y="5389480"/>
            <a:ext cx="3340979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r>
              <a:rPr lang="en-US" sz="1100" dirty="0"/>
              <a:t>Table 1 Caption of the table. Source: SITRAER 2023.</a:t>
            </a:r>
          </a:p>
        </p:txBody>
      </p:sp>
    </p:spTree>
    <p:extLst>
      <p:ext uri="{BB962C8B-B14F-4D97-AF65-F5344CB8AC3E}">
        <p14:creationId xmlns:p14="http://schemas.microsoft.com/office/powerpoint/2010/main" val="1712281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: Cantos Arredondados 5">
            <a:extLst>
              <a:ext uri="{FF2B5EF4-FFF2-40B4-BE49-F238E27FC236}">
                <a16:creationId xmlns="" xmlns:a16="http://schemas.microsoft.com/office/drawing/2014/main" id="{B2777F0C-A5EE-C3FA-3C7F-E7D1FB0138ED}"/>
              </a:ext>
            </a:extLst>
          </p:cNvPr>
          <p:cNvSpPr/>
          <p:nvPr/>
        </p:nvSpPr>
        <p:spPr>
          <a:xfrm>
            <a:off x="554182" y="2694407"/>
            <a:ext cx="8769926" cy="1351119"/>
          </a:xfrm>
          <a:prstGeom prst="roundRect">
            <a:avLst/>
          </a:prstGeom>
          <a:noFill/>
          <a:ln w="28575">
            <a:solidFill>
              <a:schemeClr val="accent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b="1" dirty="0">
                <a:solidFill>
                  <a:schemeClr val="tx1"/>
                </a:solidFill>
                <a:latin typeface="+mj-lt"/>
              </a:rPr>
              <a:t>The presentation is about YOUR study:</a:t>
            </a:r>
          </a:p>
          <a:p>
            <a:pPr algn="ctr"/>
            <a:r>
              <a:rPr lang="en-US" b="1" dirty="0">
                <a:solidFill>
                  <a:schemeClr val="tx1"/>
                </a:solidFill>
                <a:latin typeface="+mj-lt"/>
              </a:rPr>
              <a:t>focus on your results and main ideas. </a:t>
            </a:r>
          </a:p>
        </p:txBody>
      </p:sp>
      <p:sp>
        <p:nvSpPr>
          <p:cNvPr id="2" name="Espaço Reservado para Texto 1">
            <a:extLst>
              <a:ext uri="{FF2B5EF4-FFF2-40B4-BE49-F238E27FC236}">
                <a16:creationId xmlns="" xmlns:a16="http://schemas.microsoft.com/office/drawing/2014/main" id="{D5107E56-BA51-211C-F923-BA1F3DD474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9" y="1140223"/>
            <a:ext cx="9325870" cy="1005465"/>
          </a:xfrm>
        </p:spPr>
        <p:txBody>
          <a:bodyPr/>
          <a:lstStyle/>
          <a:p>
            <a:r>
              <a:rPr lang="en-US" dirty="0"/>
              <a:t>The presentation content is expected to cover an introduction, a scientific background of the research topic, methodology employed, main results and their implications to the academy and industr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554DBB41-5EAC-F41F-96CD-1088E0250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is expected to cover the main ideas of the article submitted to the event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75CDF59C-299B-5CB4-0C61-CF4915FA2E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Content</a:t>
            </a:r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="" xmlns:a16="http://schemas.microsoft.com/office/drawing/2014/main" id="{2D098279-F93D-1655-431C-09E3F1BEC1A4}"/>
              </a:ext>
            </a:extLst>
          </p:cNvPr>
          <p:cNvSpPr/>
          <p:nvPr/>
        </p:nvSpPr>
        <p:spPr>
          <a:xfrm>
            <a:off x="540326" y="2494440"/>
            <a:ext cx="8797637" cy="539705"/>
          </a:xfrm>
          <a:prstGeom prst="roundRect">
            <a:avLst/>
          </a:prstGeom>
          <a:solidFill>
            <a:schemeClr val="accent2"/>
          </a:solidFill>
          <a:ln w="476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+mj-lt"/>
              </a:rPr>
              <a:t>USEFUL TIP</a:t>
            </a:r>
          </a:p>
        </p:txBody>
      </p:sp>
      <p:sp>
        <p:nvSpPr>
          <p:cNvPr id="9" name="Espaço Reservado para Texto 1">
            <a:extLst>
              <a:ext uri="{FF2B5EF4-FFF2-40B4-BE49-F238E27FC236}">
                <a16:creationId xmlns="" xmlns:a16="http://schemas.microsoft.com/office/drawing/2014/main" id="{301D0DA1-5511-7FE7-B3AB-B972397EB661}"/>
              </a:ext>
            </a:extLst>
          </p:cNvPr>
          <p:cNvSpPr txBox="1">
            <a:spLocks/>
          </p:cNvSpPr>
          <p:nvPr/>
        </p:nvSpPr>
        <p:spPr>
          <a:xfrm>
            <a:off x="307649" y="4494608"/>
            <a:ext cx="9325870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9388" indent="-179388" algn="l" defTabSz="914400" rtl="0" eaLnBrk="1" latinLnBrk="0" hangingPunct="1">
              <a:spcBef>
                <a:spcPts val="1200"/>
              </a:spcBef>
              <a:buClr>
                <a:schemeClr val="tx1"/>
              </a:buClr>
              <a:buFont typeface="Neo Sans Std" panose="020B0504030504040204" pitchFamily="34" charset="0"/>
              <a:buChar char="–"/>
              <a:defRPr lang="es-E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76200" algn="l" defTabSz="914400" rtl="0" eaLnBrk="1" latinLnBrk="0" hangingPunct="1">
              <a:spcBef>
                <a:spcPts val="12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▪"/>
              <a:tabLst/>
              <a:defRPr lang="es-E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763" indent="-1587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Neo Sans Std" panose="020B0504030504040204" pitchFamily="34" charset="0"/>
              <a:buChar char="–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538" indent="-14922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▪"/>
              <a:defRPr lang="es-E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25" indent="-14922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Neo Sans Std" panose="020B0504030504040204" pitchFamily="34" charset="0"/>
              <a:buChar char="–"/>
              <a:defRPr lang="es-E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audience wants to see and hear from you what all of your efforts have been able to produce, how you achieve them and what can be learnt from them</a:t>
            </a:r>
          </a:p>
          <a:p>
            <a:pPr marL="0" indent="0">
              <a:buFont typeface="Neo Sans Std" panose="020B0504030504040204" pitchFamily="34" charset="0"/>
              <a:buNone/>
            </a:pPr>
            <a:endParaRPr lang="en-US" dirty="0"/>
          </a:p>
        </p:txBody>
      </p:sp>
      <p:sp>
        <p:nvSpPr>
          <p:cNvPr id="11" name="Elipse 10">
            <a:extLst>
              <a:ext uri="{FF2B5EF4-FFF2-40B4-BE49-F238E27FC236}">
                <a16:creationId xmlns="" xmlns:a16="http://schemas.microsoft.com/office/drawing/2014/main" id="{A85AA87F-6A26-A169-DE1A-482A29F55253}"/>
              </a:ext>
            </a:extLst>
          </p:cNvPr>
          <p:cNvSpPr/>
          <p:nvPr/>
        </p:nvSpPr>
        <p:spPr>
          <a:xfrm>
            <a:off x="5979695" y="2137224"/>
            <a:ext cx="1010652" cy="1010652"/>
          </a:xfrm>
          <a:prstGeom prst="ellipse">
            <a:avLst/>
          </a:prstGeom>
          <a:solidFill>
            <a:schemeClr val="bg1"/>
          </a:solidFill>
          <a:ln w="476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Gráfico 7" descr="Lâmpada e engrenagem">
            <a:extLst>
              <a:ext uri="{FF2B5EF4-FFF2-40B4-BE49-F238E27FC236}">
                <a16:creationId xmlns="" xmlns:a16="http://schemas.microsoft.com/office/drawing/2014/main" id="{1F4F4C1A-2FC6-3FCA-F6D1-0BAB3F95EE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27821" y="218535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449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85BC3DD7-91CD-AE2F-2324-3F25CB0C3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the most from the available slides to build your presentation and to exercise your creativity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="" xmlns:a16="http://schemas.microsoft.com/office/drawing/2014/main" id="{4F78245B-131A-900B-DC3A-6AC52E519C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Content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="" xmlns:a16="http://schemas.microsoft.com/office/drawing/2014/main" id="{B13EDD29-60C8-F014-3B52-BFAAA1E96C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179" y="1309010"/>
            <a:ext cx="8049126" cy="5146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345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="" xmlns:a16="http://schemas.microsoft.com/office/drawing/2014/main" id="{175EEC30-8232-FE3B-9462-D1759ACCD0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7648" y="1251062"/>
            <a:ext cx="4437377" cy="4154984"/>
          </a:xfrm>
        </p:spPr>
        <p:txBody>
          <a:bodyPr/>
          <a:lstStyle/>
          <a:p>
            <a:r>
              <a:rPr lang="en-US" dirty="0"/>
              <a:t>Comments and questions are not included into the presentation time, however authors may consider them when preparing the document</a:t>
            </a:r>
          </a:p>
          <a:p>
            <a:r>
              <a:rPr lang="en-US" dirty="0"/>
              <a:t>It is highly encouraged that authors prepare their presentations to be </a:t>
            </a:r>
            <a:r>
              <a:rPr lang="en-US" b="1" dirty="0"/>
              <a:t>12-15 minute long</a:t>
            </a:r>
            <a:r>
              <a:rPr lang="en-US" dirty="0"/>
              <a:t> at maximum</a:t>
            </a:r>
          </a:p>
          <a:p>
            <a:r>
              <a:rPr lang="en-US" dirty="0"/>
              <a:t>To accomplish the proposed timing, an adequate presentation is expected to have </a:t>
            </a:r>
            <a:r>
              <a:rPr lang="en-US" b="1" dirty="0"/>
              <a:t>10-12 slides</a:t>
            </a:r>
          </a:p>
          <a:p>
            <a:r>
              <a:rPr lang="en-US" dirty="0"/>
              <a:t>After the presentation, it will be allocated </a:t>
            </a:r>
            <a:r>
              <a:rPr lang="en-US" b="1" dirty="0"/>
              <a:t>5 minutes </a:t>
            </a:r>
            <a:r>
              <a:rPr lang="en-US" dirty="0"/>
              <a:t>for comments and questions from the audience or the moderator</a:t>
            </a:r>
          </a:p>
        </p:txBody>
      </p:sp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E4349C26-E0C6-6AAC-25CE-619D61098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 aware the authors have </a:t>
            </a:r>
            <a:r>
              <a:rPr lang="en-US" b="1" dirty="0"/>
              <a:t>15 minutes to complete their speech</a:t>
            </a:r>
            <a:r>
              <a:rPr lang="en-US" dirty="0"/>
              <a:t>,</a:t>
            </a:r>
            <a:r>
              <a:rPr lang="en-US" b="1" dirty="0"/>
              <a:t> </a:t>
            </a:r>
            <a:r>
              <a:rPr lang="en-US" dirty="0"/>
              <a:t>besides comments and Q&amp;As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="" xmlns:a16="http://schemas.microsoft.com/office/drawing/2014/main" id="{39A74942-5807-756C-A63B-A880AC4523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commendations to paper presentation – Timing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="" xmlns:a16="http://schemas.microsoft.com/office/drawing/2014/main" id="{56BD2CDF-CB21-2170-8763-62B4374FB0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8396" l="10000" r="90000">
                        <a14:foregroundMark x1="50000" y1="34225" x2="50000" y2="34225"/>
                        <a14:foregroundMark x1="50278" y1="29144" x2="50278" y2="29144"/>
                        <a14:foregroundMark x1="64722" y1="32086" x2="64722" y2="32086"/>
                        <a14:foregroundMark x1="76389" y1="42513" x2="76389" y2="42513"/>
                        <a14:foregroundMark x1="80000" y1="56952" x2="80000" y2="56952"/>
                        <a14:foregroundMark x1="75833" y1="71123" x2="75833" y2="71123"/>
                        <a14:foregroundMark x1="64722" y1="81016" x2="64722" y2="81016"/>
                        <a14:foregroundMark x1="50000" y1="84225" x2="50000" y2="84225"/>
                        <a14:foregroundMark x1="35556" y1="81283" x2="35556" y2="81283"/>
                        <a14:foregroundMark x1="25000" y1="70588" x2="25000" y2="70588"/>
                        <a14:foregroundMark x1="21111" y1="57219" x2="21111" y2="57219"/>
                        <a14:foregroundMark x1="25000" y1="43048" x2="25000" y2="43048"/>
                        <a14:foregroundMark x1="35000" y1="31551" x2="35000" y2="31551"/>
                        <a14:backgroundMark x1="50556" y1="56952" x2="50556" y2="569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527" y="1647825"/>
            <a:ext cx="3429000" cy="356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4629F739-02E4-24B9-7C84-62496811FCDA}"/>
              </a:ext>
            </a:extLst>
          </p:cNvPr>
          <p:cNvSpPr txBox="1"/>
          <p:nvPr/>
        </p:nvSpPr>
        <p:spPr>
          <a:xfrm>
            <a:off x="619991" y="6017631"/>
            <a:ext cx="8666018" cy="374571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n-US" sz="1600" i="1" dirty="0"/>
              <a:t>Certify to remove all notes from this suggestive document before finishing your presentation</a:t>
            </a:r>
          </a:p>
        </p:txBody>
      </p:sp>
    </p:spTree>
    <p:extLst>
      <p:ext uri="{BB962C8B-B14F-4D97-AF65-F5344CB8AC3E}">
        <p14:creationId xmlns:p14="http://schemas.microsoft.com/office/powerpoint/2010/main" val="1818787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="" xmlns:a16="http://schemas.microsoft.com/office/drawing/2014/main" id="{AFFD5D85-19A2-670B-5F0C-EC27E8FD0671}"/>
              </a:ext>
            </a:extLst>
          </p:cNvPr>
          <p:cNvSpPr txBox="1"/>
          <p:nvPr/>
        </p:nvSpPr>
        <p:spPr>
          <a:xfrm>
            <a:off x="1879599" y="1800088"/>
            <a:ext cx="6146801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/>
            <a:r>
              <a:rPr lang="en-US" sz="2000" dirty="0">
                <a:latin typeface="+mj-lt"/>
              </a:rPr>
              <a:t>We are looking forward to have you</a:t>
            </a:r>
          </a:p>
          <a:p>
            <a:pPr algn="ctr"/>
            <a:r>
              <a:rPr lang="en-US" sz="2000" dirty="0">
                <a:latin typeface="+mj-lt"/>
              </a:rPr>
              <a:t>in Joinville for the XX SITRAER 2023!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="" xmlns:a16="http://schemas.microsoft.com/office/drawing/2014/main" id="{0D1F78D6-DE51-EBC9-9B75-F93DADE6F81A}"/>
              </a:ext>
            </a:extLst>
          </p:cNvPr>
          <p:cNvSpPr txBox="1"/>
          <p:nvPr/>
        </p:nvSpPr>
        <p:spPr>
          <a:xfrm>
            <a:off x="1879599" y="5161017"/>
            <a:ext cx="6146801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/>
            <a:r>
              <a:rPr lang="en-US" sz="2000" i="1" dirty="0">
                <a:latin typeface="+mj-lt"/>
              </a:rPr>
              <a:t>The Organizing Committee</a:t>
            </a:r>
          </a:p>
          <a:p>
            <a:pPr algn="ctr"/>
            <a:r>
              <a:rPr lang="en-US" sz="1600" dirty="0">
                <a:solidFill>
                  <a:srgbClr val="123859"/>
                </a:solidFill>
                <a:latin typeface="+mj-lt"/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sitraer2023@</a:t>
            </a:r>
            <a:r>
              <a:rPr lang="en-US" sz="1600" dirty="0">
                <a:solidFill>
                  <a:srgbClr val="123859"/>
                </a:solidFill>
                <a:latin typeface="+mj-lt"/>
              </a:rPr>
              <a:t>contato.ufsc.br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="" xmlns:a16="http://schemas.microsoft.com/office/drawing/2014/main" id="{A794C7C3-78D9-7942-C8E5-8E132A2266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1557" y="2523053"/>
            <a:ext cx="2622884" cy="262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567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KLrh5xSemceuA4uolC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traer_2022">
  <a:themeElements>
    <a:clrScheme name="Violeta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Sitraer2022_Font">
      <a:majorFont>
        <a:latin typeface="Nirmala UI"/>
        <a:ea typeface=""/>
        <a:cs typeface=""/>
      </a:majorFont>
      <a:minorFont>
        <a:latin typeface="Nirmala UI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47625">
          <a:solidFill>
            <a:schemeClr val="accent1"/>
          </a:solidFill>
          <a:miter lim="800000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rnd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vert="horz" wrap="square" lIns="91440" tIns="45720" rIns="91440" bIns="45720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G2021_theme" id="{42BD566E-8192-4CBA-801F-736BF5761F70}" vid="{309C6E05-5CA8-48AE-8329-FA4B825B0782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</TotalTime>
  <Words>493</Words>
  <Application>Microsoft Office PowerPoint</Application>
  <PresentationFormat>Papel A4 (210 x 297 mm)</PresentationFormat>
  <Paragraphs>63</Paragraphs>
  <Slides>9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19" baseType="lpstr">
      <vt:lpstr>Malgun Gothic</vt:lpstr>
      <vt:lpstr>Malgun Gothic Semilight</vt:lpstr>
      <vt:lpstr>Arial</vt:lpstr>
      <vt:lpstr>Calibri</vt:lpstr>
      <vt:lpstr>Neo Sans Std</vt:lpstr>
      <vt:lpstr>Nirmala UI</vt:lpstr>
      <vt:lpstr>Nirmala UI Semilight</vt:lpstr>
      <vt:lpstr>Wingdings</vt:lpstr>
      <vt:lpstr>Sitraer_2022</vt:lpstr>
      <vt:lpstr>Diapositiva de think-cell</vt:lpstr>
      <vt:lpstr>Recommendations to paper presentation at the Sitraer 2023</vt:lpstr>
      <vt:lpstr>agenda</vt:lpstr>
      <vt:lpstr>Font sizing for title and text are suggested in order to provide good readability to the audience</vt:lpstr>
      <vt:lpstr>Authors are encouraged to follow the SITRAER 2023 official palette of colors, although it is not mandatory</vt:lpstr>
      <vt:lpstr>Figures and tables are prone to be part of a presentation. Some examples are provided as follows:</vt:lpstr>
      <vt:lpstr>Presentation is expected to cover the main ideas of the article submitted to the event</vt:lpstr>
      <vt:lpstr>Use the most from the available slides to build your presentation and to exercise your creativity</vt:lpstr>
      <vt:lpstr>Be aware the authors have 15 minutes to complete their speech, besides comments and Q&amp;As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mmendations to paper presentation at the Sitraer 2022</dc:title>
  <dc:creator>Renata</dc:creator>
  <cp:lastModifiedBy>Cristiane da Silva Barbado</cp:lastModifiedBy>
  <cp:revision>4</cp:revision>
  <dcterms:modified xsi:type="dcterms:W3CDTF">2023-09-19T13:24:43Z</dcterms:modified>
</cp:coreProperties>
</file>